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4BD97"/>
    <a:srgbClr val="000054"/>
    <a:srgbClr val="BCBCC3"/>
    <a:srgbClr val="000000"/>
    <a:srgbClr val="E60028"/>
    <a:srgbClr val="D0D0D0"/>
    <a:srgbClr val="0000BF"/>
    <a:srgbClr val="9595F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992" autoAdjust="0"/>
  </p:normalViewPr>
  <p:slideViewPr>
    <p:cSldViewPr snapToGrid="0" snapToObjects="1">
      <p:cViewPr varScale="1">
        <p:scale>
          <a:sx n="171" d="100"/>
          <a:sy n="171" d="100"/>
        </p:scale>
        <p:origin x="103" y="243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, Pierre Ollf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</a:t>
            </a:r>
            <a:r>
              <a:rPr lang="de-DE" altLang="de-DE" sz="700" b="1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1" noProof="0" dirty="0">
                <a:latin typeface="Verdana" panose="020B0604030504040204" pitchFamily="34" charset="0"/>
              </a:rPr>
              <a:t>, FH AACHEN	</a:t>
            </a:r>
            <a:r>
              <a:rPr lang="de-DE" altLang="de-DE" sz="700" noProof="0" dirty="0">
                <a:latin typeface="Verdana" panose="020B0604030504040204" pitchFamily="34" charset="0"/>
              </a:rPr>
              <a:t>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 dirty="0"/>
              <a:t>Workflow -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16" y="183309"/>
            <a:ext cx="4130104" cy="1504874"/>
          </a:xfrm>
          <a:prstGeom prst="rect">
            <a:avLst/>
          </a:prstGeom>
        </p:spPr>
      </p:pic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1-06-17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3" y="609125"/>
              <a:ext cx="1218974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stCxn id="15" idx="3"/>
            <a:endCxn id="17" idx="1"/>
          </p:cNvCxnSpPr>
          <p:nvPr/>
        </p:nvCxnSpPr>
        <p:spPr>
          <a:xfrm flipV="1">
            <a:off x="1777178" y="771915"/>
            <a:ext cx="897453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</a:t>
            </a:r>
            <a:r>
              <a:rPr lang="de-DE" dirty="0" err="1"/>
              <a:t>TemplateHTML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355</Words>
  <Application>Microsoft Office PowerPoint</Application>
  <PresentationFormat>Bildschirmpräsentation (16:9)</PresentationFormat>
  <Paragraphs>78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ＭＳ Ｐゴシック</vt:lpstr>
      <vt:lpstr>Arial</vt:lpstr>
      <vt:lpstr>Calibri</vt:lpstr>
      <vt:lpstr>Symbol</vt:lpstr>
      <vt:lpstr>Verdana</vt:lpstr>
      <vt:lpstr>FHAAC Design weiß auf schwarz</vt:lpstr>
      <vt:lpstr>Workflow - Overview</vt:lpstr>
      <vt:lpstr>Workflow Level 1</vt:lpstr>
      <vt:lpstr>Workflow Level 2: Convert Files into html</vt:lpstr>
      <vt:lpstr>Workflow Level 3: M-File Object</vt:lpstr>
      <vt:lpstr>Workflow Level 3: TemplateHTML Ob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2doc - Structure</dc:title>
  <dc:creator>boehnisch@fh-aachen.de</dc:creator>
  <cp:lastModifiedBy>Böhnisch, Nils</cp:lastModifiedBy>
  <cp:revision>554</cp:revision>
  <dcterms:created xsi:type="dcterms:W3CDTF">2020-02-07T15:02:49Z</dcterms:created>
  <dcterms:modified xsi:type="dcterms:W3CDTF">2021-07-22T12:58:20Z</dcterms:modified>
</cp:coreProperties>
</file>